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0" r:id="rId1"/>
    <p:sldMasterId id="2147483668" r:id="rId2"/>
  </p:sldMasterIdLst>
  <p:notesMasterIdLst>
    <p:notesMasterId r:id="rId13"/>
  </p:notesMasterIdLst>
  <p:sldIdLst>
    <p:sldId id="1183" r:id="rId3"/>
    <p:sldId id="1182" r:id="rId4"/>
    <p:sldId id="1184" r:id="rId5"/>
    <p:sldId id="1187" r:id="rId6"/>
    <p:sldId id="1186" r:id="rId7"/>
    <p:sldId id="1185" r:id="rId8"/>
    <p:sldId id="1189" r:id="rId9"/>
    <p:sldId id="1188" r:id="rId10"/>
    <p:sldId id="1190" r:id="rId11"/>
    <p:sldId id="1191" r:id="rId12"/>
  </p:sldIdLst>
  <p:sldSz cx="9144000" cy="6858000" type="screen4x3"/>
  <p:notesSz cx="6954838" cy="93091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3BA0AAB-2A55-E045-B1F0-245EC352B8FB}">
          <p14:sldIdLst>
            <p14:sldId id="1183"/>
            <p14:sldId id="1182"/>
            <p14:sldId id="1184"/>
            <p14:sldId id="1187"/>
            <p14:sldId id="1186"/>
            <p14:sldId id="1185"/>
            <p14:sldId id="1189"/>
            <p14:sldId id="1188"/>
            <p14:sldId id="1190"/>
            <p14:sldId id="119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A00"/>
    <a:srgbClr val="F0F000"/>
    <a:srgbClr val="FF40FF"/>
    <a:srgbClr val="FFBBDA"/>
    <a:srgbClr val="BAEEC4"/>
    <a:srgbClr val="C1F89F"/>
    <a:srgbClr val="FFE0DE"/>
    <a:srgbClr val="FFFFCC"/>
    <a:srgbClr val="00FDFF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9554" autoAdjust="0"/>
    <p:restoredTop sz="95009" autoAdjust="0"/>
  </p:normalViewPr>
  <p:slideViewPr>
    <p:cSldViewPr snapToGrid="0">
      <p:cViewPr varScale="1">
        <p:scale>
          <a:sx n="90" d="100"/>
          <a:sy n="90" d="100"/>
        </p:scale>
        <p:origin x="852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3763" cy="467072"/>
          </a:xfrm>
          <a:prstGeom prst="rect">
            <a:avLst/>
          </a:prstGeom>
        </p:spPr>
        <p:txBody>
          <a:bodyPr vert="horz" lIns="92930" tIns="46465" rIns="92930" bIns="4646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9466" y="0"/>
            <a:ext cx="3013763" cy="467072"/>
          </a:xfrm>
          <a:prstGeom prst="rect">
            <a:avLst/>
          </a:prstGeom>
        </p:spPr>
        <p:txBody>
          <a:bodyPr vert="horz" lIns="92930" tIns="46465" rIns="92930" bIns="46465" rtlCol="0"/>
          <a:lstStyle>
            <a:lvl1pPr algn="r">
              <a:defRPr sz="1200"/>
            </a:lvl1pPr>
          </a:lstStyle>
          <a:p>
            <a:fld id="{A2348426-D616-4DB3-895B-CACDC1844757}" type="datetimeFigureOut">
              <a:rPr lang="en-US" smtClean="0"/>
              <a:t>4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84300" y="1163638"/>
            <a:ext cx="4186238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30" tIns="46465" rIns="92930" bIns="4646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484" y="4480004"/>
            <a:ext cx="5563870" cy="3665458"/>
          </a:xfrm>
          <a:prstGeom prst="rect">
            <a:avLst/>
          </a:prstGeom>
        </p:spPr>
        <p:txBody>
          <a:bodyPr vert="horz" lIns="92930" tIns="46465" rIns="92930" bIns="46465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13763" cy="467071"/>
          </a:xfrm>
          <a:prstGeom prst="rect">
            <a:avLst/>
          </a:prstGeom>
        </p:spPr>
        <p:txBody>
          <a:bodyPr vert="horz" lIns="92930" tIns="46465" rIns="92930" bIns="4646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9466" y="8842030"/>
            <a:ext cx="3013763" cy="467071"/>
          </a:xfrm>
          <a:prstGeom prst="rect">
            <a:avLst/>
          </a:prstGeom>
        </p:spPr>
        <p:txBody>
          <a:bodyPr vert="horz" lIns="92930" tIns="46465" rIns="92930" bIns="46465" rtlCol="0" anchor="b"/>
          <a:lstStyle>
            <a:lvl1pPr algn="r">
              <a:defRPr sz="1200"/>
            </a:lvl1pPr>
          </a:lstStyle>
          <a:p>
            <a:fld id="{C4ED1363-9081-4EC0-9466-3AFF5C600B9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9824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3344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alphaModFix amt="1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2404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85416"/>
            <a:ext cx="7772400" cy="1801368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11" descr="pharos_fullLogo_white-2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374" y="340373"/>
            <a:ext cx="3262366" cy="972254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0C7C568-2EC4-4063-9CCA-75470B260043}" type="datetime1">
              <a:rPr lang="en-US" smtClean="0"/>
              <a:t>4/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6157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FFBDD-FAAE-4B61-8C55-FC66D3AC3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A99155-2C10-43CE-9F64-CB6DC278BC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EB4761-1642-4614-895E-E031A01C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A50861-77F3-4663-934F-725015073B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64500" y="1980000"/>
            <a:ext cx="6615000" cy="270000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3375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“Double tap to add quote text”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D51451-AAD2-4C37-951B-611FE57805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01454" y="4795664"/>
            <a:ext cx="4941094" cy="32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Double tap to add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7C8503A-77A3-4274-91A9-1D0D5CDD98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01454" y="5156448"/>
            <a:ext cx="4941094" cy="360784"/>
          </a:xfrm>
        </p:spPr>
        <p:txBody>
          <a:bodyPr/>
          <a:lstStyle>
            <a:lvl1pPr algn="ctr">
              <a:defRPr sz="9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Double tap to add title / position</a:t>
            </a:r>
          </a:p>
        </p:txBody>
      </p:sp>
    </p:spTree>
    <p:extLst>
      <p:ext uri="{BB962C8B-B14F-4D97-AF65-F5344CB8AC3E}">
        <p14:creationId xmlns:p14="http://schemas.microsoft.com/office/powerpoint/2010/main" val="1919818575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Nº›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48388B-6010-4A72-8EE1-66DF0D06803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2673100"/>
              </p:ext>
            </p:extLst>
          </p:nvPr>
        </p:nvGraphicFramePr>
        <p:xfrm>
          <a:off x="289461" y="1196975"/>
          <a:ext cx="8575932" cy="4787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87966">
                  <a:extLst>
                    <a:ext uri="{9D8B030D-6E8A-4147-A177-3AD203B41FA5}">
                      <a16:colId xmlns:a16="http://schemas.microsoft.com/office/drawing/2014/main" val="2536250139"/>
                    </a:ext>
                  </a:extLst>
                </a:gridCol>
                <a:gridCol w="4287966">
                  <a:extLst>
                    <a:ext uri="{9D8B030D-6E8A-4147-A177-3AD203B41FA5}">
                      <a16:colId xmlns:a16="http://schemas.microsoft.com/office/drawing/2014/main" val="3437502744"/>
                    </a:ext>
                  </a:extLst>
                </a:gridCol>
              </a:tblGrid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595326"/>
                  </a:ext>
                </a:extLst>
              </a:tr>
              <a:tr h="239395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5027395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D1A073-BA07-481F-982B-051F2DF1E9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3539" y="1340769"/>
            <a:ext cx="3996443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D089428-3031-49B6-86C1-4C7CC02032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538" y="3753036"/>
            <a:ext cx="3996443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B931DB3-89A8-451C-8D64-23B8AA409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3928" y="1340769"/>
            <a:ext cx="3996443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925D9B-2997-41E5-AB13-A7E71251D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3929" y="3753036"/>
            <a:ext cx="3996443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1262256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07B787-D9DE-4009-A7A1-7CF5962C92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78606" y="1196975"/>
            <a:ext cx="8586788" cy="4788000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573599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D7E865-4C67-4B56-8F9C-510DB1E1D3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746031" y="4016"/>
            <a:ext cx="3402000" cy="68539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607" y="338421"/>
            <a:ext cx="4860443" cy="5998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8523" y="1196975"/>
            <a:ext cx="4860540" cy="47879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29E4FF-644F-45B5-B079-8C1EA5EAF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91000" y="5400000"/>
            <a:ext cx="3753000" cy="792000"/>
          </a:xfrm>
          <a:solidFill>
            <a:schemeClr val="tx2"/>
          </a:solidFill>
        </p:spPr>
        <p:txBody>
          <a:bodyPr lIns="180000" tIns="180000" rIns="180000" bIns="180000"/>
          <a:lstStyle>
            <a:lvl1pPr algn="ctr">
              <a:defRPr sz="1125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65465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 with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606" y="338421"/>
            <a:ext cx="4401401" cy="59988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8523" y="1196975"/>
            <a:ext cx="4401489" cy="47879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725B5D1-3158-411E-8837-5E5041D6F0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950516" y="1196976"/>
            <a:ext cx="3915000" cy="3924213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37406-89A0-49E4-91E3-55F3AA3465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0042" y="368301"/>
            <a:ext cx="3915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25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5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25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25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2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graphic / photo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F11A27F-F459-4841-A943-0CD3F7179B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54169" y="638366"/>
            <a:ext cx="3915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125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25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25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25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125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detail / sub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F19D62-68D7-40A3-ABAC-0862CA24E1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50761" y="5240027"/>
            <a:ext cx="3915000" cy="7448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600" i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i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 i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 i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graphic / photo title</a:t>
            </a:r>
          </a:p>
        </p:txBody>
      </p:sp>
    </p:spTree>
    <p:extLst>
      <p:ext uri="{BB962C8B-B14F-4D97-AF65-F5344CB8AC3E}">
        <p14:creationId xmlns:p14="http://schemas.microsoft.com/office/powerpoint/2010/main" val="4486333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278606" y="1196975"/>
            <a:ext cx="8586788" cy="4787900"/>
          </a:xfrm>
        </p:spPr>
        <p:txBody>
          <a:bodyPr/>
          <a:lstStyle>
            <a:lvl1pPr marL="540000" indent="-540000">
              <a:buSzPct val="130000"/>
              <a:buFont typeface="+mj-lt"/>
              <a:buAutoNum type="arabicPeriod"/>
              <a:tabLst>
                <a:tab pos="675000" algn="l"/>
              </a:tabLst>
              <a:defRPr/>
            </a:lvl1pPr>
            <a:lvl2pPr marL="536972" indent="0">
              <a:defRPr/>
            </a:lvl2pPr>
            <a:lvl3pPr marL="941785" indent="-134541">
              <a:defRPr/>
            </a:lvl3pPr>
            <a:lvl4pPr marL="1144191" indent="-134541">
              <a:defRPr/>
            </a:lvl4pPr>
          </a:lstStyle>
          <a:p>
            <a:pPr lvl="0"/>
            <a:r>
              <a:rPr lang="en-US" dirty="0"/>
              <a:t>Click to add item nam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22925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2272707D-B2DE-4911-8A88-A4CBBF19D0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02270" y="2857170"/>
            <a:ext cx="1404938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number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D770A4-933A-40A5-BCD9-B4688CB5AF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02270" y="3230996"/>
            <a:ext cx="1404938" cy="1547813"/>
          </a:xfrm>
        </p:spPr>
        <p:txBody>
          <a:bodyPr/>
          <a:lstStyle>
            <a:lvl1pPr>
              <a:defRPr lang="en-US" sz="112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2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B203DC59-7F92-4EEA-A9B2-B7FEBE477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57911" y="2852800"/>
            <a:ext cx="1404938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number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9014E47-73AE-48C5-81A1-59DF44D3E8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57911" y="3226626"/>
            <a:ext cx="1404938" cy="1547813"/>
          </a:xfrm>
        </p:spPr>
        <p:txBody>
          <a:bodyPr/>
          <a:lstStyle>
            <a:lvl1pPr>
              <a:defRPr lang="en-US" sz="112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2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B3BB5832-8B7B-4D51-8A78-C47337BB0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13740" y="2852800"/>
            <a:ext cx="1404938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number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9F58C346-EF09-48E0-92F0-0BA03B70F9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13740" y="3226626"/>
            <a:ext cx="1404938" cy="1547813"/>
          </a:xfrm>
        </p:spPr>
        <p:txBody>
          <a:bodyPr/>
          <a:lstStyle>
            <a:lvl1pPr>
              <a:defRPr lang="en-US" sz="112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12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F36FE94-CDDC-427B-8072-E48E2BD17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9194" y="2852800"/>
            <a:ext cx="1404938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dd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Nº›</a:t>
            </a:fld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9E4D2E2-0811-4A96-9F92-82061EF1BB2E}"/>
              </a:ext>
            </a:extLst>
          </p:cNvPr>
          <p:cNvGrpSpPr/>
          <p:nvPr userDrawn="1"/>
        </p:nvGrpSpPr>
        <p:grpSpPr>
          <a:xfrm>
            <a:off x="332529" y="1592796"/>
            <a:ext cx="648072" cy="3816000"/>
            <a:chOff x="10884532" y="1808820"/>
            <a:chExt cx="864096" cy="3816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0F9BEC2-8AA6-40D1-9E80-048AF45570FF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AE27FB5-5F4E-4FC6-85A9-9806CAB7FE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E16B4A7-E5F0-4D41-9B4D-A0021136044C}"/>
              </a:ext>
            </a:extLst>
          </p:cNvPr>
          <p:cNvGrpSpPr/>
          <p:nvPr userDrawn="1"/>
        </p:nvGrpSpPr>
        <p:grpSpPr>
          <a:xfrm>
            <a:off x="2303993" y="1592796"/>
            <a:ext cx="648072" cy="3816000"/>
            <a:chOff x="10884532" y="1808820"/>
            <a:chExt cx="864096" cy="3816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C55BD24-22B1-4D2D-AFF5-A72B69CBB927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12DC936-1F10-4477-BDC3-030CA234FA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7EDDC-A371-4F94-AF57-E722A3565C59}"/>
              </a:ext>
            </a:extLst>
          </p:cNvPr>
          <p:cNvGrpSpPr/>
          <p:nvPr userDrawn="1"/>
        </p:nvGrpSpPr>
        <p:grpSpPr>
          <a:xfrm>
            <a:off x="4275456" y="1592796"/>
            <a:ext cx="648072" cy="3816000"/>
            <a:chOff x="10884532" y="1808820"/>
            <a:chExt cx="864096" cy="38160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8738023-7FDF-42A2-AD93-218604766046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D6DD7E1-CA1F-44D4-B53D-B4D42A5F0F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40BEE8E-CBA7-45A0-B877-54856DFF85E3}"/>
              </a:ext>
            </a:extLst>
          </p:cNvPr>
          <p:cNvGrpSpPr/>
          <p:nvPr userDrawn="1"/>
        </p:nvGrpSpPr>
        <p:grpSpPr>
          <a:xfrm>
            <a:off x="6246920" y="1592796"/>
            <a:ext cx="648072" cy="3816000"/>
            <a:chOff x="10884532" y="1808820"/>
            <a:chExt cx="864096" cy="3816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0BCA15E-8656-44AB-A8B3-DF0F6EF97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948D73-3B0F-4A35-BC4D-58DA882FBB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492723-C7C7-4A90-B381-0E9336E1B454}"/>
              </a:ext>
            </a:extLst>
          </p:cNvPr>
          <p:cNvGrpSpPr/>
          <p:nvPr userDrawn="1"/>
        </p:nvGrpSpPr>
        <p:grpSpPr>
          <a:xfrm>
            <a:off x="8218383" y="1592796"/>
            <a:ext cx="648072" cy="3816000"/>
            <a:chOff x="10884532" y="1808820"/>
            <a:chExt cx="864096" cy="381600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95BD01-8BAE-45B3-84C2-E381E5C5656D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A6B9613-4781-4E30-9531-87F6215A52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732BB06-7F00-4A81-8284-EC44F96F5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69194" y="3226626"/>
            <a:ext cx="1404938" cy="1547813"/>
          </a:xfrm>
        </p:spPr>
        <p:txBody>
          <a:bodyPr/>
          <a:lstStyle>
            <a:lvl1pPr>
              <a:defRPr sz="1125">
                <a:solidFill>
                  <a:schemeClr val="tx1"/>
                </a:solidFill>
              </a:defRPr>
            </a:lvl1pPr>
            <a:lvl2pPr>
              <a:defRPr lang="en-US" sz="1125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971249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0FA69-D428-4E1A-9E4A-B65055291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12046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00" y="600000"/>
            <a:ext cx="8064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3867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lick to add ‘action’ title (22-24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p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577891-0F60-4580-905F-BA11924E58FB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24775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790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80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fc3f04f-9b58-42bb-9803-9dfb1bf46f8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/>
              <a:pPr/>
              <a:t>‹Nº›</a:t>
            </a:fld>
            <a:endParaRPr lang="en-US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48388B-6010-4A72-8EE1-66DF0D068037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289461" y="1196975"/>
          <a:ext cx="8575932" cy="4787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287966">
                  <a:extLst>
                    <a:ext uri="{9D8B030D-6E8A-4147-A177-3AD203B41FA5}">
                      <a16:colId xmlns:a16="http://schemas.microsoft.com/office/drawing/2014/main" val="2536250139"/>
                    </a:ext>
                  </a:extLst>
                </a:gridCol>
                <a:gridCol w="4287966">
                  <a:extLst>
                    <a:ext uri="{9D8B030D-6E8A-4147-A177-3AD203B41FA5}">
                      <a16:colId xmlns:a16="http://schemas.microsoft.com/office/drawing/2014/main" val="3437502744"/>
                    </a:ext>
                  </a:extLst>
                </a:gridCol>
              </a:tblGrid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595326"/>
                  </a:ext>
                </a:extLst>
              </a:tr>
              <a:tr h="2393950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L="68580" marR="6858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68580" marR="68580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5027395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D1A073-BA07-481F-982B-051F2DF1E9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13539" y="1340769"/>
            <a:ext cx="3996443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D089428-3031-49B6-86C1-4C7CC02032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3538" y="3753036"/>
            <a:ext cx="3996443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B931DB3-89A8-451C-8D64-23B8AA409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93928" y="1340769"/>
            <a:ext cx="3996443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925D9B-2997-41E5-AB13-A7E71251D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93929" y="3753036"/>
            <a:ext cx="3996443" cy="20162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5026731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94147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530" imgH="531" progId="TCLayout.ActiveDocument.1">
                  <p:embed/>
                </p:oleObj>
              </mc:Choice>
              <mc:Fallback>
                <p:oleObj name="think-cell Slide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623888" y="3163824"/>
            <a:ext cx="7886700" cy="1425640"/>
          </a:xfrm>
          <a:prstGeom prst="rect">
            <a:avLst/>
          </a:prstGeom>
          <a:solidFill>
            <a:srgbClr val="A2BF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3163824"/>
            <a:ext cx="7886700" cy="1398652"/>
          </a:xfrm>
        </p:spPr>
        <p:txBody>
          <a:bodyPr anchor="ctr">
            <a:no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E1A4F390-C593-4B22-8A73-7EBE23838EA6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8" descr="pharos_logo_blue-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317" y="6260771"/>
            <a:ext cx="1145804" cy="2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5218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343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8882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77000" y="2883272"/>
            <a:ext cx="4590000" cy="1296000"/>
          </a:xfrm>
        </p:spPr>
        <p:txBody>
          <a:bodyPr anchor="t" anchorCtr="0"/>
          <a:lstStyle>
            <a:lvl1pPr algn="ctr">
              <a:defRPr sz="33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277000" y="4293140"/>
            <a:ext cx="4590000" cy="396000"/>
          </a:xfrm>
        </p:spPr>
        <p:txBody>
          <a:bodyPr/>
          <a:lstStyle>
            <a:lvl1pPr marL="0" indent="0" algn="ctr">
              <a:buNone/>
              <a:defRPr sz="1125" cap="all" baseline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date and loc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D85905-2FC5-4E3F-A5B4-964835152113}"/>
              </a:ext>
            </a:extLst>
          </p:cNvPr>
          <p:cNvCxnSpPr/>
          <p:nvPr userDrawn="1"/>
        </p:nvCxnSpPr>
        <p:spPr>
          <a:xfrm>
            <a:off x="2276745" y="2862000"/>
            <a:ext cx="459051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802F52-35FE-4506-A962-0E5A0A480E64}"/>
              </a:ext>
            </a:extLst>
          </p:cNvPr>
          <p:cNvCxnSpPr/>
          <p:nvPr userDrawn="1"/>
        </p:nvCxnSpPr>
        <p:spPr>
          <a:xfrm>
            <a:off x="2276745" y="4185096"/>
            <a:ext cx="459051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D5CC867-A84F-4ABD-8C72-8EA6C288F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71049" y="6060482"/>
            <a:ext cx="2001903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240178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D6E6CB-DAE4-4D72-9A51-3021342E26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3420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27006" y="4143412"/>
            <a:ext cx="4590000" cy="1296000"/>
          </a:xfrm>
        </p:spPr>
        <p:txBody>
          <a:bodyPr anchor="t" anchorCtr="0"/>
          <a:lstStyle>
            <a:lvl1pPr algn="ctr">
              <a:defRPr sz="33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327006" y="5553238"/>
            <a:ext cx="4590000" cy="396043"/>
          </a:xfrm>
        </p:spPr>
        <p:txBody>
          <a:bodyPr/>
          <a:lstStyle>
            <a:lvl1pPr marL="0" indent="0" algn="ctr">
              <a:buNone/>
              <a:defRPr sz="1125" cap="all" baseline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add date and loc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B10D6B-33D5-4A95-95B8-71E82FD05E13}"/>
              </a:ext>
            </a:extLst>
          </p:cNvPr>
          <p:cNvGrpSpPr/>
          <p:nvPr userDrawn="1"/>
        </p:nvGrpSpPr>
        <p:grpSpPr>
          <a:xfrm>
            <a:off x="2326751" y="4140000"/>
            <a:ext cx="4590510" cy="1323096"/>
            <a:chOff x="3035660" y="2862000"/>
            <a:chExt cx="6120680" cy="1323096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9D85905-2FC5-4E3F-A5B4-964835152113}"/>
                </a:ext>
              </a:extLst>
            </p:cNvPr>
            <p:cNvCxnSpPr/>
            <p:nvPr userDrawn="1"/>
          </p:nvCxnSpPr>
          <p:spPr>
            <a:xfrm>
              <a:off x="3035660" y="2862000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802F52-35FE-4506-A962-0E5A0A480E64}"/>
                </a:ext>
              </a:extLst>
            </p:cNvPr>
            <p:cNvCxnSpPr/>
            <p:nvPr userDrawn="1"/>
          </p:nvCxnSpPr>
          <p:spPr>
            <a:xfrm>
              <a:off x="3035660" y="4185096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72ECADD-E120-4389-9E94-2E5A65993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71049" y="6060482"/>
            <a:ext cx="2001903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314535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8606" y="1196975"/>
            <a:ext cx="8586788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3476535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606" y="338421"/>
            <a:ext cx="8586788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8523" y="1196975"/>
            <a:ext cx="4158379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707099" y="1196975"/>
            <a:ext cx="4158379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778810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8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vmlDrawing" Target="../drawings/vmlDrawing5.vml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2.xml"/><Relationship Id="rId20" Type="http://schemas.openxmlformats.org/officeDocument/2006/relationships/image" Target="../media/image5.emf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19" Type="http://schemas.openxmlformats.org/officeDocument/2006/relationships/oleObject" Target="../embeddings/oleObject5.bin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90558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0" imgW="530" imgH="531" progId="TCLayout.ActiveDocument.1">
                  <p:embed/>
                </p:oleObj>
              </mc:Choice>
              <mc:Fallback>
                <p:oleObj name="think-cell Slide" r:id="rId10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0FF3022-C5DB-4626-846E-B0D90F52F6A6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A4F390-C593-4B22-8A73-7EBE23838EA6}" type="slidenum">
              <a:rPr lang="en-US" smtClean="0"/>
              <a:t>‹Nº›</a:t>
            </a:fld>
            <a:endParaRPr lang="en-US"/>
          </a:p>
        </p:txBody>
      </p:sp>
      <p:pic>
        <p:nvPicPr>
          <p:cNvPr id="8" name="Picture 7" descr="pharos_logo_blue-2.png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317" y="6260771"/>
            <a:ext cx="1145804" cy="29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1925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67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EA97C6-56A5-2C41-B601-5C4CE0080A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74093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19" imgW="7772400" imgH="10058400" progId="TCLayout.ActiveDocument.1">
                  <p:embed/>
                </p:oleObj>
              </mc:Choice>
              <mc:Fallback>
                <p:oleObj name="think-cell Slide" r:id="rId1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093D2C-626B-4DDA-AB0A-CA48EA6D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8606" y="338421"/>
            <a:ext cx="8586788" cy="599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D26BA5-A3B1-486F-B108-86DC3267A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78606" y="1206517"/>
            <a:ext cx="8586788" cy="4778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noProof="0" dirty="0"/>
              <a:t>Sixth</a:t>
            </a:r>
          </a:p>
          <a:p>
            <a:pPr lvl="6"/>
            <a:r>
              <a:rPr lang="en-US" noProof="0" dirty="0"/>
              <a:t>Seventh</a:t>
            </a:r>
          </a:p>
          <a:p>
            <a:pPr lvl="7"/>
            <a:r>
              <a:rPr lang="en-US" noProof="0" dirty="0"/>
              <a:t>Eighth</a:t>
            </a:r>
          </a:p>
          <a:p>
            <a:pPr lvl="8"/>
            <a:r>
              <a:rPr lang="en-US" noProof="0" dirty="0"/>
              <a:t>Nin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93237-C16F-48AF-90B0-B0C3C94FDB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15350" y="6196520"/>
            <a:ext cx="350043" cy="2931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rgbClr val="808080"/>
                </a:solidFill>
              </a:defRPr>
            </a:lvl1pPr>
          </a:lstStyle>
          <a:p>
            <a:fld id="{2AAA7032-8CB7-40F4-9CB9-A644B8ADA1F8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FABB9-201A-4446-A277-DA725B8FE76C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8606" y="6327181"/>
            <a:ext cx="1072394" cy="17041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625F11-1B15-4FF2-A588-CF63802E7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133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4" r:id="rId15"/>
  </p:sldLayoutIdLst>
  <p:transition>
    <p:fade/>
  </p:transition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5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Font typeface="Arial" panose="020B0604020202020204" pitchFamily="34" charset="0"/>
        <a:buNone/>
        <a:defRPr sz="1650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398860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06054" indent="-134541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278731" indent="-214313" algn="l" defTabSz="685800" rtl="0" eaLnBrk="1" latinLnBrk="0" hangingPunct="1">
        <a:lnSpc>
          <a:spcPct val="90000"/>
        </a:lnSpc>
        <a:spcBef>
          <a:spcPts val="375"/>
        </a:spcBef>
        <a:spcAft>
          <a:spcPts val="600"/>
        </a:spcAft>
        <a:buFont typeface="Arial" panose="020B0604020202020204" pitchFamily="34" charset="0"/>
        <a:buChar char="•"/>
        <a:defRPr lang="en-US" sz="1125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None/>
        <a:defRPr sz="825" kern="1200">
          <a:solidFill>
            <a:schemeClr val="tx1"/>
          </a:solidFill>
          <a:latin typeface="+mn-lt"/>
          <a:ea typeface="+mn-ea"/>
          <a:cs typeface="+mn-cs"/>
        </a:defRPr>
      </a:lvl6pPr>
      <a:lvl7pPr marL="269081" indent="-134541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7pPr>
      <a:lvl8pPr marL="536972" indent="-134541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8pPr>
      <a:lvl9pPr marL="536972" indent="-134541" algn="l" defTabSz="685800" rtl="0" eaLnBrk="1" latinLnBrk="0" hangingPunct="1">
        <a:lnSpc>
          <a:spcPct val="90000"/>
        </a:lnSpc>
        <a:spcBef>
          <a:spcPts val="0"/>
        </a:spcBef>
        <a:spcAft>
          <a:spcPts val="450"/>
        </a:spcAft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234">
          <p15:clr>
            <a:srgbClr val="F26B43"/>
          </p15:clr>
        </p15:guide>
        <p15:guide id="3" orient="horz" pos="4088">
          <p15:clr>
            <a:srgbClr val="F26B43"/>
          </p15:clr>
        </p15:guide>
        <p15:guide id="4" pos="7446">
          <p15:clr>
            <a:srgbClr val="F26B43"/>
          </p15:clr>
        </p15:guide>
        <p15:guide id="5" orient="horz" pos="754">
          <p15:clr>
            <a:srgbClr val="F26B43"/>
          </p15:clr>
        </p15:guide>
        <p15:guide id="6" orient="horz" pos="37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hyperlink" Target="mailto:joan@vyhcontexto.org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hyperlink" Target="https://www.who.int/es/initiatives/act-accelerator" TargetMode="External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2D04D1-18F3-284D-B015-2076562CB5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C959D66-456A-C44A-B0D4-8A13CDBEC2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2950" y="1938528"/>
            <a:ext cx="7772400" cy="1801368"/>
          </a:xfrm>
        </p:spPr>
        <p:txBody>
          <a:bodyPr vert="horz">
            <a:normAutofit fontScale="90000"/>
          </a:bodyPr>
          <a:lstStyle/>
          <a:p>
            <a:r>
              <a:rPr lang="es-ES" sz="4800" dirty="0"/>
              <a:t>Evaluación del Mecanismo de Respuesta a COVID-19 </a:t>
            </a:r>
            <a:endParaRPr lang="en-US" sz="3600" b="0" dirty="0">
              <a:solidFill>
                <a:schemeClr val="tx2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267B7DA-1D0E-6C42-9EC6-F3D09137B18E}"/>
              </a:ext>
            </a:extLst>
          </p:cNvPr>
          <p:cNvSpPr txBox="1">
            <a:spLocks/>
          </p:cNvSpPr>
          <p:nvPr/>
        </p:nvSpPr>
        <p:spPr>
          <a:xfrm>
            <a:off x="742950" y="4376928"/>
            <a:ext cx="7772400" cy="1801368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sz="2600" b="0" dirty="0"/>
              <a:t>Presentación MCP El Salvador</a:t>
            </a:r>
          </a:p>
          <a:p>
            <a:endParaRPr lang="es-ES" sz="2600" b="0" dirty="0"/>
          </a:p>
          <a:p>
            <a:r>
              <a:rPr lang="es-ES" sz="2600" b="0" dirty="0">
                <a:solidFill>
                  <a:schemeClr val="tx2"/>
                </a:solidFill>
              </a:rPr>
              <a:t>Consultor: Joan Tallada</a:t>
            </a:r>
          </a:p>
          <a:p>
            <a:endParaRPr lang="es-ES" sz="2600" b="0" dirty="0">
              <a:solidFill>
                <a:schemeClr val="tx2"/>
              </a:solidFill>
            </a:endParaRPr>
          </a:p>
          <a:p>
            <a:r>
              <a:rPr lang="es-ES" sz="2600" b="0" dirty="0">
                <a:solidFill>
                  <a:schemeClr val="tx2"/>
                </a:solidFill>
              </a:rPr>
              <a:t>Presenta: Ana Isabel Nieto/ MINSAL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7CF1B9FD-7E69-4B6E-977D-5FF4C6D96125}"/>
              </a:ext>
            </a:extLst>
          </p:cNvPr>
          <p:cNvSpPr txBox="1"/>
          <p:nvPr/>
        </p:nvSpPr>
        <p:spPr>
          <a:xfrm>
            <a:off x="3206581" y="6305108"/>
            <a:ext cx="2845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SV" dirty="0"/>
              <a:t>Miércoles 6 de abril de 2022</a:t>
            </a:r>
          </a:p>
        </p:txBody>
      </p:sp>
    </p:spTree>
    <p:extLst>
      <p:ext uri="{BB962C8B-B14F-4D97-AF65-F5344CB8AC3E}">
        <p14:creationId xmlns:p14="http://schemas.microsoft.com/office/powerpoint/2010/main" val="2797273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8D649B-E492-C141-87B4-E9D941EC44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752391" y="105951"/>
            <a:ext cx="7637526" cy="1119351"/>
          </a:xfrm>
        </p:spPr>
        <p:txBody>
          <a:bodyPr>
            <a:normAutofit/>
          </a:bodyPr>
          <a:lstStyle/>
          <a:p>
            <a:pPr algn="ctr"/>
            <a:r>
              <a:rPr lang="es-ES" sz="2800" dirty="0"/>
              <a:t>Contacto</a:t>
            </a:r>
          </a:p>
        </p:txBody>
      </p:sp>
      <p:sp>
        <p:nvSpPr>
          <p:cNvPr id="11" name="Marcador de contenido 10"/>
          <p:cNvSpPr>
            <a:spLocks noGrp="1"/>
          </p:cNvSpPr>
          <p:nvPr>
            <p:ph idx="1"/>
          </p:nvPr>
        </p:nvSpPr>
        <p:spPr>
          <a:xfrm>
            <a:off x="795528" y="1293087"/>
            <a:ext cx="7719822" cy="4504209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endParaRPr lang="es-ES" dirty="0"/>
          </a:p>
          <a:p>
            <a:pPr marL="0" lvl="0" indent="0" algn="ctr">
              <a:buNone/>
            </a:pPr>
            <a:r>
              <a:rPr lang="es-ES" sz="2800" dirty="0"/>
              <a:t>Joan Tallada</a:t>
            </a:r>
          </a:p>
          <a:p>
            <a:pPr marL="0" lvl="0" indent="0" algn="ctr">
              <a:buNone/>
            </a:pPr>
            <a:r>
              <a:rPr lang="es-ES" sz="2800" dirty="0"/>
              <a:t>Correo: </a:t>
            </a:r>
            <a:r>
              <a:rPr lang="es-ES" sz="2800" b="1" dirty="0">
                <a:hlinkClick r:id="rId6"/>
              </a:rPr>
              <a:t>joan@vyhcontexto.org</a:t>
            </a:r>
            <a:endParaRPr lang="es-ES" sz="2800" b="1" dirty="0"/>
          </a:p>
          <a:p>
            <a:pPr marL="0" lvl="0" indent="0" algn="ctr">
              <a:buNone/>
            </a:pPr>
            <a:r>
              <a:rPr lang="es-ES" sz="2800" dirty="0"/>
              <a:t>WhatsApp: </a:t>
            </a:r>
            <a:r>
              <a:rPr lang="es-ES" sz="2800" b="1" dirty="0"/>
              <a:t>+ 34 692034950</a:t>
            </a:r>
          </a:p>
          <a:p>
            <a:pPr lvl="0" algn="ctr"/>
            <a:endParaRPr lang="es-ES" sz="2800" dirty="0"/>
          </a:p>
          <a:p>
            <a:pPr lvl="0" algn="ctr"/>
            <a:endParaRPr lang="es-ES" sz="2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73AAE-45FA-DF44-AF39-5860E7DEE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10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05F559-A41D-234F-9F94-A35B9AECDF4A}"/>
              </a:ext>
            </a:extLst>
          </p:cNvPr>
          <p:cNvSpPr/>
          <p:nvPr/>
        </p:nvSpPr>
        <p:spPr>
          <a:xfrm>
            <a:off x="7635834" y="0"/>
            <a:ext cx="1508166" cy="2301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3126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8D649B-E492-C141-87B4-E9D941EC44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8D649B-E492-C141-87B4-E9D941EC44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28650" y="161723"/>
            <a:ext cx="7886700" cy="1119351"/>
          </a:xfrm>
        </p:spPr>
        <p:txBody>
          <a:bodyPr/>
          <a:lstStyle/>
          <a:p>
            <a:r>
              <a:rPr lang="es-ES" dirty="0"/>
              <a:t>Introducción</a:t>
            </a:r>
          </a:p>
        </p:txBody>
      </p:sp>
      <p:sp>
        <p:nvSpPr>
          <p:cNvPr id="11" name="Marcador de contenido 10"/>
          <p:cNvSpPr>
            <a:spLocks noGrp="1"/>
          </p:cNvSpPr>
          <p:nvPr>
            <p:ph idx="1"/>
          </p:nvPr>
        </p:nvSpPr>
        <p:spPr>
          <a:xfrm>
            <a:off x="628650" y="1513804"/>
            <a:ext cx="7886700" cy="4351338"/>
          </a:xfrm>
        </p:spPr>
        <p:txBody>
          <a:bodyPr>
            <a:normAutofit lnSpcReduction="10000"/>
          </a:bodyPr>
          <a:lstStyle/>
          <a:p>
            <a:pPr algn="just"/>
            <a:r>
              <a:rPr lang="es-ES" dirty="0"/>
              <a:t>El Grupo de Referencia de Evaluaciones Técnicas (TERG, por sus siglas en inglés) del Fondo Mundial ha contratado a Pharos Global Health Advisors para llevar a cabo una </a:t>
            </a:r>
            <a:r>
              <a:rPr lang="es-ES" b="1" dirty="0"/>
              <a:t>evaluación del Mecanismo de Respuesta a COVID-19</a:t>
            </a:r>
            <a:r>
              <a:rPr lang="es-ES" dirty="0"/>
              <a:t> (C19RM) de 2020. </a:t>
            </a:r>
          </a:p>
          <a:p>
            <a:pPr algn="just"/>
            <a:endParaRPr lang="es-ES" dirty="0"/>
          </a:p>
          <a:p>
            <a:pPr algn="just"/>
            <a:r>
              <a:rPr lang="es-ES" b="1" dirty="0"/>
              <a:t>El Salvador </a:t>
            </a:r>
            <a:r>
              <a:rPr lang="es-ES" dirty="0"/>
              <a:t>es uno de los países seleccionados para este estudio de caso.</a:t>
            </a:r>
          </a:p>
          <a:p>
            <a:pPr algn="just"/>
            <a:endParaRPr lang="es-ES" dirty="0"/>
          </a:p>
          <a:p>
            <a:pPr algn="just"/>
            <a:r>
              <a:rPr lang="es-ES" dirty="0"/>
              <a:t>Los otros países son (por el momento): </a:t>
            </a:r>
            <a:r>
              <a:rPr lang="es-ES" b="1" dirty="0"/>
              <a:t>Perú</a:t>
            </a:r>
            <a:r>
              <a:rPr lang="es-ES" dirty="0"/>
              <a:t>, Bangladesh, Liberia, Sudáfrica, Ucrania, Vietnam y Malaui.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73AAE-45FA-DF44-AF39-5860E7DEE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2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05F559-A41D-234F-9F94-A35B9AECDF4A}"/>
              </a:ext>
            </a:extLst>
          </p:cNvPr>
          <p:cNvSpPr/>
          <p:nvPr/>
        </p:nvSpPr>
        <p:spPr>
          <a:xfrm>
            <a:off x="7635834" y="0"/>
            <a:ext cx="1508166" cy="2301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7724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8D649B-E492-C141-87B4-E9D941EC44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119351"/>
          </a:xfrm>
        </p:spPr>
        <p:txBody>
          <a:bodyPr/>
          <a:lstStyle/>
          <a:p>
            <a:r>
              <a:rPr lang="es-ES" dirty="0"/>
              <a:t>Objetivos</a:t>
            </a:r>
          </a:p>
        </p:txBody>
      </p:sp>
      <p:sp>
        <p:nvSpPr>
          <p:cNvPr id="11" name="Marcador de contenido 10"/>
          <p:cNvSpPr>
            <a:spLocks noGrp="1"/>
          </p:cNvSpPr>
          <p:nvPr>
            <p:ph idx="1"/>
          </p:nvPr>
        </p:nvSpPr>
        <p:spPr>
          <a:xfrm>
            <a:off x="628650" y="1060704"/>
            <a:ext cx="7886700" cy="5047488"/>
          </a:xfrm>
        </p:spPr>
        <p:txBody>
          <a:bodyPr>
            <a:normAutofit fontScale="92500" lnSpcReduction="20000"/>
          </a:bodyPr>
          <a:lstStyle/>
          <a:p>
            <a:pPr lvl="0" algn="just"/>
            <a:r>
              <a:rPr lang="es-ES" dirty="0"/>
              <a:t>Determinar </a:t>
            </a:r>
            <a:r>
              <a:rPr lang="es-ES" b="1" dirty="0"/>
              <a:t>la relevancia y la oportunidad </a:t>
            </a:r>
            <a:r>
              <a:rPr lang="es-ES" dirty="0"/>
              <a:t>de las inversiones del C19RM.</a:t>
            </a:r>
          </a:p>
          <a:p>
            <a:pPr lvl="0" algn="just"/>
            <a:r>
              <a:rPr lang="es-ES" dirty="0"/>
              <a:t>Analizar si, hasta qué punto y por qué el C19RM ha conseguido </a:t>
            </a:r>
            <a:r>
              <a:rPr lang="es-ES" b="1" dirty="0"/>
              <a:t>mitigar el impacto </a:t>
            </a:r>
            <a:r>
              <a:rPr lang="es-ES" dirty="0"/>
              <a:t>de la pandemia de COVID-19 en el VIH, la TB y la salud pública en general. </a:t>
            </a:r>
          </a:p>
          <a:p>
            <a:pPr lvl="0" algn="just"/>
            <a:r>
              <a:rPr lang="es-ES" dirty="0"/>
              <a:t>Evaluar cómo de efectiva ha sido la ayuda del C19RM para que los países de ingresos bajos y medianos hicieran </a:t>
            </a:r>
            <a:r>
              <a:rPr lang="es-ES" b="1" dirty="0"/>
              <a:t>frente a COVID-19 directamente y reforzasen los sistemas de salud y comunitarios</a:t>
            </a:r>
            <a:r>
              <a:rPr lang="es-ES" dirty="0"/>
              <a:t> con el fin de prepararse ante futuras pandemias. </a:t>
            </a:r>
          </a:p>
          <a:p>
            <a:pPr lvl="0" algn="just"/>
            <a:r>
              <a:rPr lang="es-ES" dirty="0"/>
              <a:t>Examinar </a:t>
            </a:r>
            <a:r>
              <a:rPr lang="es-ES" b="1" dirty="0"/>
              <a:t>los resultados y logros de la coordinación global </a:t>
            </a:r>
            <a:r>
              <a:rPr lang="es-ES" dirty="0"/>
              <a:t>para el desarrollo de las subvenciones del C19RM a través de la alianza </a:t>
            </a:r>
            <a:r>
              <a:rPr lang="es-ES" dirty="0">
                <a:hlinkClick r:id="rId6"/>
              </a:rPr>
              <a:t>ACT-A</a:t>
            </a:r>
            <a:r>
              <a:rPr lang="es-ES" dirty="0"/>
              <a:t>; y</a:t>
            </a:r>
          </a:p>
          <a:p>
            <a:pPr lvl="0" algn="just"/>
            <a:r>
              <a:rPr lang="es-ES" dirty="0"/>
              <a:t>Proporcionar </a:t>
            </a:r>
            <a:r>
              <a:rPr lang="es-ES" b="1" dirty="0"/>
              <a:t>lecciones aprendidas </a:t>
            </a:r>
            <a:r>
              <a:rPr lang="es-ES" dirty="0"/>
              <a:t>que contribuyan al refuerzo de futuras subvenciones del C19RM y de la capacidad del Fondo Mundial de responder a futuras pandemias como parte de su marco estratégico.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73AAE-45FA-DF44-AF39-5860E7DEE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3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05F559-A41D-234F-9F94-A35B9AECDF4A}"/>
              </a:ext>
            </a:extLst>
          </p:cNvPr>
          <p:cNvSpPr/>
          <p:nvPr/>
        </p:nvSpPr>
        <p:spPr>
          <a:xfrm>
            <a:off x="7635834" y="0"/>
            <a:ext cx="1508166" cy="2301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2107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8D649B-E492-C141-87B4-E9D941EC44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754380" y="101550"/>
            <a:ext cx="7886700" cy="659355"/>
          </a:xfrm>
        </p:spPr>
        <p:txBody>
          <a:bodyPr/>
          <a:lstStyle/>
          <a:p>
            <a:r>
              <a:rPr lang="es-ES" dirty="0"/>
              <a:t>Teoría del cambio 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73AAE-45FA-DF44-AF39-5860E7DEE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4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05F559-A41D-234F-9F94-A35B9AECDF4A}"/>
              </a:ext>
            </a:extLst>
          </p:cNvPr>
          <p:cNvSpPr/>
          <p:nvPr/>
        </p:nvSpPr>
        <p:spPr>
          <a:xfrm>
            <a:off x="7635834" y="0"/>
            <a:ext cx="1508166" cy="2301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2"/>
              </a:solidFill>
            </a:endParaRPr>
          </a:p>
        </p:txBody>
      </p:sp>
      <p:graphicFrame>
        <p:nvGraphicFramePr>
          <p:cNvPr id="6" name="Tab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0436369"/>
              </p:ext>
            </p:extLst>
          </p:nvPr>
        </p:nvGraphicFramePr>
        <p:xfrm>
          <a:off x="754380" y="1024896"/>
          <a:ext cx="7635239" cy="5005197"/>
        </p:xfrm>
        <a:graphic>
          <a:graphicData uri="http://schemas.openxmlformats.org/drawingml/2006/table">
            <a:tbl>
              <a:tblPr firstRow="1" firstCol="1" bandRow="1"/>
              <a:tblGrid>
                <a:gridCol w="18333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70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971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5758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444">
                <a:tc grid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racterísticas del Diseño del C19RM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i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sumos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i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Compromisos de las subvenciones C19RM)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cesos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ductos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Pilares según el marco del plan de respuesta a C19RM de la OMS) 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i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sultados/ Impactos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4793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esupuestos de las inversiones elegibles en 3 categorías amplias: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Intervenciones de contención y control de COVID-19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edidas de mitigación de los riesgos asociados con COVID-19 para los programas de VIH, tuberculosis y malaria (según proceda)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+mj-lt"/>
                        <a:buAutoNum type="arabicPeriod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fuerzo ampliado de los aspectos clave de los sistemas de salud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l" rtl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sarrollo de planes nacionales de COVID-19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sembolso de fondos COVID-19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asto en (y adquisición de) diagnósticos por tipo y volumen; equipamiento del EPP por tipo y volumen; tratamientos por tipo y volumen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asto por intervenciones y pilares de la respuesta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asto por respuestas comunitarias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Gasto en trabajadores comunitarios de la salud (salarios)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l" rtl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ponibilidad de existencias en el trazador de mercancías para VIH, TB y malaria en los centros de salud (Pilar 9)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isponibilidad de existencias de mercancías para COVID-19 (Pilar 5, 6 y 7) 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untualidad de las entregas de insumos por tipo 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stado de la entrega de financiamiento por productos sanitarios para COVID-19 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 de los centros de salud designados que pueden suministrar terapia de oxígeno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% de los centros de salud designados que pueden suministrar servicios de testeo para SARS-CoV-2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ersonas testadas para COVID-19 (Pilares 3 y/o 5) 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casos confirmados hospitalizados para COVID-19 (Pilares 3, 7)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casos confirmados de COVID-19 hospitalizados, dados de alta (Pilares 3, 7)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# personas testadas para VIH, TB y malaria. 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os siguientes aspectos requieren especificidad para C19RM: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Desempeño programático de la subvención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sultados anuales por país según las metas de los indicadores seleccionados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demás: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etalidad de COVId-19 entre los casos confirmados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tencialmente, en caso de que sea posible una modelización, pese a que las asunciones son múltiples y limitan su interpretación: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asos de COVID-19 evitados (atribuibles a C19RM)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Muertes por COVID-19 evitadas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33794" name="Graphic 9" descr="Arrow Right with solid fill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213" y="1201738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34898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8D649B-E492-C141-87B4-E9D941EC44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718101" y="-99281"/>
            <a:ext cx="7671816" cy="1119351"/>
          </a:xfrm>
        </p:spPr>
        <p:txBody>
          <a:bodyPr/>
          <a:lstStyle/>
          <a:p>
            <a:r>
              <a:rPr lang="es-ES" dirty="0"/>
              <a:t>Teoría del cambio I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73AAE-45FA-DF44-AF39-5860E7DEE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5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05F559-A41D-234F-9F94-A35B9AECDF4A}"/>
              </a:ext>
            </a:extLst>
          </p:cNvPr>
          <p:cNvSpPr/>
          <p:nvPr/>
        </p:nvSpPr>
        <p:spPr>
          <a:xfrm>
            <a:off x="7635834" y="0"/>
            <a:ext cx="1508166" cy="2301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2"/>
              </a:solidFill>
            </a:endParaRPr>
          </a:p>
        </p:txBody>
      </p:sp>
      <p:graphicFrame>
        <p:nvGraphicFramePr>
          <p:cNvPr id="6" name="Tab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3548569"/>
              </p:ext>
            </p:extLst>
          </p:nvPr>
        </p:nvGraphicFramePr>
        <p:xfrm>
          <a:off x="718101" y="1020070"/>
          <a:ext cx="7671816" cy="4883150"/>
        </p:xfrm>
        <a:graphic>
          <a:graphicData uri="http://schemas.openxmlformats.org/drawingml/2006/table">
            <a:tbl>
              <a:tblPr firstRow="1" firstCol="1" bandRow="1"/>
              <a:tblGrid>
                <a:gridCol w="20342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30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933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61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2444">
                <a:tc grid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racterísticas del Diseño del C19RM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518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i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sumos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i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Compromisos de las subvenciones C19RM)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cesos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ductos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(Pilares según el marco del plan de respuesta a C19RM de la OMS) 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sultados/ Impactos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444">
                <a:tc grid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sunciones clave de las características del diseño de C19RM (por confirmar)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2604">
                <a:tc>
                  <a:txBody>
                    <a:bodyPr/>
                    <a:lstStyle/>
                    <a:p>
                      <a:pPr marL="342900" lvl="0" indent="-342900" algn="l" rtl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s presupuestos son suficientes en cantidad y calendarizados de forma apropiada para que los programas previstos sean relevantes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l" rtl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s planes nacionales disponen de suficiente validez para convertir los desembolsos en los productos deseados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l" rtl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s procesos previos son suficientes para generar cambios en los productos y no hubieran sucedido sin C19RM (no se habría dispuesto de otros financiamientos) 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l" rtl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s productos previos eran necesarios y suficientes para generar cambios en resultados / impacto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El lapso desde el proceso anterior es suficiente para la maduración de los programas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444">
                <a:tc gridSpan="4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ontrafactual plausible: ¿Comparado con qué? (por confirmar)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44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nsumos 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cesos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ductos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1000" b="1" i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sultados/ Impactos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45847">
                <a:tc>
                  <a:txBody>
                    <a:bodyPr/>
                    <a:lstStyle/>
                    <a:p>
                      <a:pPr marL="342900" lvl="0" indent="-342900" algn="l" rtl="0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in aumento del financiamiento a través del mecanismo C19RM del FM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asignación a favor de la resiliencia de los programas de VIH, TB y malaria específicos del país: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 partir del portafolio de la subvención del FM existente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ujeto a aprobación del FM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jor escenario posible: 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 aproxima o es ligeramente inferior a lo que se habría conseguido en ausencia de la pandemia de COVID-19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or escenario posible: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asignación insuficiente, en términos cuantitativos o cualitativos, para mitigar las disrupciones por COVID-19. 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s productos de VIH, TB y malaria resultan peores de lo inicialmente planificado</a:t>
                      </a:r>
                      <a:endParaRPr lang="es-E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ejor escenario posible: 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Se aproxima o es ligeramente inferior a lo que se habría conseguido en ausencia de la pandemia de COVID-19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or escenario posible: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easignación insuficiente, en términos cuantitativos o cualitativos, para mitigar las disrupciones por COVID-19. 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ES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Los resultados / los impactos de VIH, TB y malaria resultan peores de lo inicialmente planificado</a:t>
                      </a:r>
                      <a:endParaRPr lang="es-E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32600" marR="3260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33793" name="Graphic 7" descr="Arrow Right with solid fill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9389" y="1279976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21148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8D649B-E492-C141-87B4-E9D941EC44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119351"/>
          </a:xfrm>
        </p:spPr>
        <p:txBody>
          <a:bodyPr/>
          <a:lstStyle/>
          <a:p>
            <a:r>
              <a:rPr lang="es-ES" dirty="0"/>
              <a:t>Métodos</a:t>
            </a:r>
          </a:p>
        </p:txBody>
      </p:sp>
      <p:sp>
        <p:nvSpPr>
          <p:cNvPr id="11" name="Marcador de contenido 10"/>
          <p:cNvSpPr>
            <a:spLocks noGrp="1"/>
          </p:cNvSpPr>
          <p:nvPr>
            <p:ph idx="1"/>
          </p:nvPr>
        </p:nvSpPr>
        <p:spPr>
          <a:xfrm>
            <a:off x="628650" y="896112"/>
            <a:ext cx="8003286" cy="5374059"/>
          </a:xfrm>
        </p:spPr>
        <p:txBody>
          <a:bodyPr>
            <a:normAutofit lnSpcReduction="10000"/>
          </a:bodyPr>
          <a:lstStyle/>
          <a:p>
            <a:pPr lvl="0" algn="just"/>
            <a:r>
              <a:rPr lang="es-ES" b="1" dirty="0"/>
              <a:t>Revisión documental</a:t>
            </a:r>
            <a:r>
              <a:rPr lang="es-ES" dirty="0"/>
              <a:t>:</a:t>
            </a:r>
          </a:p>
          <a:p>
            <a:pPr lvl="1" algn="just"/>
            <a:r>
              <a:rPr lang="es-ES" dirty="0"/>
              <a:t>Datos epidemiológicos y programáticos</a:t>
            </a:r>
          </a:p>
          <a:p>
            <a:pPr lvl="1" algn="just"/>
            <a:r>
              <a:rPr lang="es-ES" dirty="0"/>
              <a:t>Documentos de la subvención</a:t>
            </a:r>
          </a:p>
          <a:p>
            <a:pPr lvl="1" algn="just"/>
            <a:r>
              <a:rPr lang="es-ES" dirty="0"/>
              <a:t>Informes de ejecución programática</a:t>
            </a:r>
          </a:p>
          <a:p>
            <a:pPr lvl="1" algn="just"/>
            <a:r>
              <a:rPr lang="es-ES" dirty="0"/>
              <a:t>Informes de ejecución financiera</a:t>
            </a:r>
          </a:p>
          <a:p>
            <a:pPr lvl="1" algn="just"/>
            <a:r>
              <a:rPr lang="es-ES" dirty="0"/>
              <a:t>Planes nacionales de COVID-19 y de adaptación de las respuestas a VIH y TB</a:t>
            </a:r>
          </a:p>
          <a:p>
            <a:pPr lvl="1" algn="just"/>
            <a:r>
              <a:rPr lang="es-ES" dirty="0"/>
              <a:t>Proyectos e informes de otros socios internacionales</a:t>
            </a:r>
          </a:p>
          <a:p>
            <a:pPr lvl="0" algn="just"/>
            <a:r>
              <a:rPr lang="es-ES" b="1" dirty="0"/>
              <a:t>Reuniones y entrevistas con informantes clave</a:t>
            </a:r>
          </a:p>
          <a:p>
            <a:pPr lvl="1" algn="just"/>
            <a:r>
              <a:rPr lang="es-ES" dirty="0"/>
              <a:t>Mecanismo Coordinador de País</a:t>
            </a:r>
          </a:p>
          <a:p>
            <a:pPr lvl="1" algn="just"/>
            <a:r>
              <a:rPr lang="es-ES" dirty="0"/>
              <a:t>Gobierno: MINSA (Gabinete de Salud Ampliado, VIH, TB, COVID-19, compras y suministros, laboratorios, regulaciones).</a:t>
            </a:r>
          </a:p>
          <a:p>
            <a:pPr lvl="1" algn="just"/>
            <a:r>
              <a:rPr lang="es-ES" dirty="0"/>
              <a:t>Sociedad civil</a:t>
            </a:r>
          </a:p>
          <a:p>
            <a:pPr lvl="1" algn="just"/>
            <a:r>
              <a:rPr lang="es-ES" dirty="0"/>
              <a:t>Socios internacionales</a:t>
            </a:r>
          </a:p>
          <a:p>
            <a:pPr lvl="0" algn="just"/>
            <a:r>
              <a:rPr lang="es-ES" dirty="0"/>
              <a:t>Consolidación del estudio de caso con la </a:t>
            </a:r>
            <a:r>
              <a:rPr lang="es-ES" b="1" dirty="0"/>
              <a:t>evaluación glob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73AAE-45FA-DF44-AF39-5860E7DEE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6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05F559-A41D-234F-9F94-A35B9AECDF4A}"/>
              </a:ext>
            </a:extLst>
          </p:cNvPr>
          <p:cNvSpPr/>
          <p:nvPr/>
        </p:nvSpPr>
        <p:spPr>
          <a:xfrm>
            <a:off x="7635834" y="0"/>
            <a:ext cx="1508166" cy="2301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813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8D649B-E492-C141-87B4-E9D941EC44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119351"/>
          </a:xfrm>
        </p:spPr>
        <p:txBody>
          <a:bodyPr/>
          <a:lstStyle/>
          <a:p>
            <a:r>
              <a:rPr lang="es-ES" dirty="0"/>
              <a:t>Elementos de análisis I</a:t>
            </a:r>
          </a:p>
        </p:txBody>
      </p:sp>
      <p:sp>
        <p:nvSpPr>
          <p:cNvPr id="11" name="Marcador de contenido 10"/>
          <p:cNvSpPr>
            <a:spLocks noGrp="1"/>
          </p:cNvSpPr>
          <p:nvPr>
            <p:ph idx="1"/>
          </p:nvPr>
        </p:nvSpPr>
        <p:spPr>
          <a:xfrm>
            <a:off x="228600" y="1033272"/>
            <a:ext cx="8286750" cy="5047488"/>
          </a:xfrm>
        </p:spPr>
        <p:txBody>
          <a:bodyPr>
            <a:normAutofit/>
          </a:bodyPr>
          <a:lstStyle/>
          <a:p>
            <a:pPr lvl="1" algn="just"/>
            <a:r>
              <a:rPr lang="es-ES" b="1" dirty="0"/>
              <a:t>Subvención C19RM</a:t>
            </a:r>
            <a:endParaRPr lang="es-ES" sz="1800" b="1" dirty="0"/>
          </a:p>
          <a:p>
            <a:pPr lvl="2" algn="just"/>
            <a:r>
              <a:rPr lang="es-ES" dirty="0"/>
              <a:t>Resumen de la epidemiología y la respuesta nacional</a:t>
            </a:r>
            <a:endParaRPr lang="es-ES" sz="1600" dirty="0"/>
          </a:p>
          <a:p>
            <a:pPr lvl="2" algn="just"/>
            <a:r>
              <a:rPr lang="es-ES" dirty="0"/>
              <a:t>Descripción sobre cómo la subvención C19RM fue desarrollada: inclusividad del proceso, incluyendo la representación y participación comunitarias. </a:t>
            </a:r>
            <a:endParaRPr lang="es-ES" sz="1600" dirty="0"/>
          </a:p>
          <a:p>
            <a:pPr lvl="2" algn="just"/>
            <a:r>
              <a:rPr lang="es-ES" dirty="0"/>
              <a:t>Descripción de los principales componentes de la subvención, cantidades de financiación, enlaces a las subvenciones de VIH y TB, receptores principales y subreceptores, etc. </a:t>
            </a:r>
            <a:endParaRPr lang="es-ES" sz="1600" dirty="0"/>
          </a:p>
          <a:p>
            <a:pPr lvl="1" algn="just"/>
            <a:r>
              <a:rPr lang="es-ES" b="1" dirty="0"/>
              <a:t>Ejecución de la Subvención</a:t>
            </a:r>
            <a:endParaRPr lang="es-ES" sz="1800" b="1" dirty="0"/>
          </a:p>
          <a:p>
            <a:pPr lvl="2" algn="just"/>
            <a:r>
              <a:rPr lang="es-ES" dirty="0"/>
              <a:t>Ejecución en cada área (respuesta a COVID-19, mitigación de VIH y TB, fortalecimiento de los sistemas; según corresponda). </a:t>
            </a:r>
            <a:endParaRPr lang="es-ES" sz="1600" dirty="0"/>
          </a:p>
          <a:p>
            <a:pPr lvl="2" algn="just"/>
            <a:r>
              <a:rPr lang="es-ES" dirty="0"/>
              <a:t>¿Cuánto se ha gastado en cada área? </a:t>
            </a:r>
            <a:endParaRPr lang="es-ES" sz="1600" dirty="0"/>
          </a:p>
          <a:p>
            <a:pPr lvl="2" algn="just"/>
            <a:r>
              <a:rPr lang="es-ES" dirty="0"/>
              <a:t>¿Qué servicios y productos se han entregado? </a:t>
            </a:r>
            <a:endParaRPr lang="es-ES" sz="1600" dirty="0"/>
          </a:p>
          <a:p>
            <a:pPr lvl="2" algn="just"/>
            <a:r>
              <a:rPr lang="es-ES" dirty="0"/>
              <a:t>¿Cuál ha sido el calendario de implementación en comparación con el que se planificó? </a:t>
            </a:r>
            <a:endParaRPr lang="es-ES" sz="1600" dirty="0"/>
          </a:p>
          <a:p>
            <a:pPr lvl="2" algn="just"/>
            <a:r>
              <a:rPr lang="es-ES" dirty="0"/>
              <a:t>¿Cómo de efectivas fueron las intervenciones? </a:t>
            </a:r>
            <a:endParaRPr lang="es-ES" sz="1600" dirty="0"/>
          </a:p>
          <a:p>
            <a:pPr lvl="2" algn="just"/>
            <a:r>
              <a:rPr lang="es-ES" dirty="0"/>
              <a:t>¿Cuáles han sido los retos y los cuellos de botella?</a:t>
            </a:r>
            <a:endParaRPr lang="es-E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73AAE-45FA-DF44-AF39-5860E7DEE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7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05F559-A41D-234F-9F94-A35B9AECDF4A}"/>
              </a:ext>
            </a:extLst>
          </p:cNvPr>
          <p:cNvSpPr/>
          <p:nvPr/>
        </p:nvSpPr>
        <p:spPr>
          <a:xfrm>
            <a:off x="7635834" y="0"/>
            <a:ext cx="1508166" cy="2301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371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8D649B-E492-C141-87B4-E9D941EC44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1119351"/>
          </a:xfrm>
        </p:spPr>
        <p:txBody>
          <a:bodyPr/>
          <a:lstStyle/>
          <a:p>
            <a:r>
              <a:rPr lang="es-ES" dirty="0"/>
              <a:t>Elementos de análisis II</a:t>
            </a:r>
          </a:p>
        </p:txBody>
      </p:sp>
      <p:sp>
        <p:nvSpPr>
          <p:cNvPr id="11" name="Marcador de contenido 10"/>
          <p:cNvSpPr>
            <a:spLocks noGrp="1"/>
          </p:cNvSpPr>
          <p:nvPr>
            <p:ph idx="1"/>
          </p:nvPr>
        </p:nvSpPr>
        <p:spPr>
          <a:xfrm>
            <a:off x="192024" y="896112"/>
            <a:ext cx="8323326" cy="5047488"/>
          </a:xfrm>
        </p:spPr>
        <p:txBody>
          <a:bodyPr>
            <a:normAutofit fontScale="92500" lnSpcReduction="20000"/>
          </a:bodyPr>
          <a:lstStyle/>
          <a:p>
            <a:pPr marL="0" indent="0" algn="just">
              <a:buNone/>
            </a:pPr>
            <a:endParaRPr lang="es-ES" dirty="0"/>
          </a:p>
          <a:p>
            <a:pPr lvl="1" algn="just"/>
            <a:r>
              <a:rPr lang="es-ES" b="1" dirty="0"/>
              <a:t>Proceso de la subvención</a:t>
            </a:r>
            <a:endParaRPr lang="es-ES" sz="1800" b="1" dirty="0"/>
          </a:p>
          <a:p>
            <a:pPr lvl="2" algn="just"/>
            <a:r>
              <a:rPr lang="es-ES" dirty="0"/>
              <a:t>¿Se incluyó a todos los actores relevantes? En concreto, preste especial atención a la implicación de la comunidad. </a:t>
            </a:r>
            <a:endParaRPr lang="es-ES" sz="1600" dirty="0"/>
          </a:p>
          <a:p>
            <a:pPr lvl="2" algn="just"/>
            <a:r>
              <a:rPr lang="es-ES" dirty="0"/>
              <a:t>¿Cómo se llevó a cabo la coordinación con la respuesta nacional a COVID-19? </a:t>
            </a:r>
            <a:endParaRPr lang="es-ES" sz="1600" dirty="0"/>
          </a:p>
          <a:p>
            <a:pPr lvl="2" algn="just"/>
            <a:r>
              <a:rPr lang="es-ES" dirty="0"/>
              <a:t>¿Cómo se desarrolló la relación con los donantes y miembros de ACT-A en el país? </a:t>
            </a:r>
            <a:endParaRPr lang="es-ES" sz="1600" dirty="0"/>
          </a:p>
          <a:p>
            <a:pPr lvl="2" algn="just"/>
            <a:r>
              <a:rPr lang="es-ES" dirty="0"/>
              <a:t>¿Cuáles fueron las otras contribuciones de los miembros y donantes de ACT-A? ¿Hubo duplicaciones o solapamientos? </a:t>
            </a:r>
            <a:endParaRPr lang="es-ES" sz="1600" dirty="0"/>
          </a:p>
          <a:p>
            <a:pPr lvl="2" algn="just"/>
            <a:r>
              <a:rPr lang="es-ES" dirty="0"/>
              <a:t>¿Cuál fue la calidad, la eficiencia y la velocidad del proceso de implementación? </a:t>
            </a:r>
            <a:endParaRPr lang="es-ES" sz="1600" dirty="0"/>
          </a:p>
          <a:p>
            <a:pPr lvl="2" algn="just"/>
            <a:r>
              <a:rPr lang="es-ES" dirty="0"/>
              <a:t>¿El proceso mejoró en 2021, a resultas de la experiencia de 2020? </a:t>
            </a:r>
            <a:endParaRPr lang="es-ES" sz="1600" dirty="0"/>
          </a:p>
          <a:p>
            <a:pPr lvl="1" algn="just"/>
            <a:r>
              <a:rPr lang="es-ES" dirty="0"/>
              <a:t>Principales </a:t>
            </a:r>
            <a:r>
              <a:rPr lang="es-ES" b="1" dirty="0"/>
              <a:t>Lecciones Aprendidas y Recomendaciones </a:t>
            </a:r>
            <a:endParaRPr lang="es-ES" sz="1800" b="1" dirty="0"/>
          </a:p>
          <a:p>
            <a:pPr lvl="2" algn="just"/>
            <a:r>
              <a:rPr lang="es-ES" dirty="0"/>
              <a:t>Adquisición de productos </a:t>
            </a:r>
            <a:endParaRPr lang="es-ES" sz="1600" dirty="0"/>
          </a:p>
          <a:p>
            <a:pPr lvl="2" algn="just"/>
            <a:r>
              <a:rPr lang="es-ES" dirty="0"/>
              <a:t>Mitigación/ adaptación de los servicios de VIH, TB o malaria</a:t>
            </a:r>
            <a:endParaRPr lang="es-ES" sz="1600" dirty="0"/>
          </a:p>
          <a:p>
            <a:pPr lvl="2" algn="just"/>
            <a:r>
              <a:rPr lang="es-ES" dirty="0"/>
              <a:t>Fortalecimiento de los sistemas de salud y comunitarios </a:t>
            </a:r>
            <a:endParaRPr lang="es-ES" sz="1600" dirty="0"/>
          </a:p>
          <a:p>
            <a:pPr lvl="2" algn="just"/>
            <a:r>
              <a:rPr lang="es-ES" dirty="0" err="1"/>
              <a:t>Inclusividad</a:t>
            </a:r>
            <a:endParaRPr lang="es-ES" sz="1600" dirty="0"/>
          </a:p>
          <a:p>
            <a:pPr lvl="2" algn="just"/>
            <a:r>
              <a:rPr lang="es-ES" dirty="0"/>
              <a:t>Vinculaciones con la respuesta a COVID-19 en general </a:t>
            </a:r>
            <a:endParaRPr lang="es-ES" sz="1600" dirty="0"/>
          </a:p>
          <a:p>
            <a:pPr lvl="2" algn="just"/>
            <a:r>
              <a:rPr lang="es-ES" dirty="0" err="1"/>
              <a:t>Partenariados</a:t>
            </a:r>
            <a:endParaRPr lang="es-ES" sz="1600" dirty="0"/>
          </a:p>
          <a:p>
            <a:pPr lvl="2" algn="just"/>
            <a:r>
              <a:rPr lang="es-ES" dirty="0"/>
              <a:t>Velocidad y calendario </a:t>
            </a:r>
            <a:endParaRPr lang="es-ES" sz="1600" dirty="0"/>
          </a:p>
          <a:p>
            <a:pPr lvl="0" algn="just"/>
            <a:endParaRPr lang="es-E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73AAE-45FA-DF44-AF39-5860E7DEE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8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05F559-A41D-234F-9F94-A35B9AECDF4A}"/>
              </a:ext>
            </a:extLst>
          </p:cNvPr>
          <p:cNvSpPr/>
          <p:nvPr/>
        </p:nvSpPr>
        <p:spPr>
          <a:xfrm>
            <a:off x="7635834" y="0"/>
            <a:ext cx="1508166" cy="2301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414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8D649B-E492-C141-87B4-E9D941EC44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877824" y="0"/>
            <a:ext cx="7637526" cy="1119351"/>
          </a:xfrm>
        </p:spPr>
        <p:txBody>
          <a:bodyPr/>
          <a:lstStyle/>
          <a:p>
            <a:r>
              <a:rPr lang="es-ES" dirty="0"/>
              <a:t>Siguientes pasos</a:t>
            </a:r>
          </a:p>
        </p:txBody>
      </p:sp>
      <p:sp>
        <p:nvSpPr>
          <p:cNvPr id="11" name="Marcador de contenido 10"/>
          <p:cNvSpPr>
            <a:spLocks noGrp="1"/>
          </p:cNvSpPr>
          <p:nvPr>
            <p:ph idx="1"/>
          </p:nvPr>
        </p:nvSpPr>
        <p:spPr>
          <a:xfrm>
            <a:off x="795528" y="1119351"/>
            <a:ext cx="7719822" cy="450420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s-ES" dirty="0"/>
          </a:p>
          <a:p>
            <a:pPr lvl="0"/>
            <a:r>
              <a:rPr lang="es-ES" dirty="0"/>
              <a:t>Completar la revisión documental (solicitud de informes y datos a los actores del país).</a:t>
            </a:r>
          </a:p>
          <a:p>
            <a:pPr lvl="0"/>
            <a:r>
              <a:rPr lang="es-ES" dirty="0"/>
              <a:t>Realizar las reuniones y entrevistas con informantes clave.</a:t>
            </a:r>
          </a:p>
          <a:p>
            <a:pPr lvl="0"/>
            <a:r>
              <a:rPr lang="es-ES" dirty="0"/>
              <a:t>Preparar el análisis preliminar (</a:t>
            </a:r>
            <a:r>
              <a:rPr lang="es-ES" dirty="0" err="1"/>
              <a:t>ppt</a:t>
            </a:r>
            <a:r>
              <a:rPr lang="es-ES" dirty="0"/>
              <a:t>).</a:t>
            </a:r>
          </a:p>
          <a:p>
            <a:pPr lvl="0"/>
            <a:r>
              <a:rPr lang="es-ES" dirty="0"/>
              <a:t>Presentar al MCP-ES el análisis preliminar.</a:t>
            </a:r>
          </a:p>
          <a:p>
            <a:pPr lvl="0"/>
            <a:r>
              <a:rPr lang="es-ES" dirty="0"/>
              <a:t>Redactar el borrador de informe.</a:t>
            </a:r>
          </a:p>
          <a:p>
            <a:pPr lvl="0"/>
            <a:r>
              <a:rPr lang="es-ES" dirty="0"/>
              <a:t>Revisar y concluir el informe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673AAE-45FA-DF44-AF39-5860E7DEE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A4F390-C593-4B22-8A73-7EBE23838EA6}" type="slidenum">
              <a:rPr lang="en-US" smtClean="0"/>
              <a:t>9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05F559-A41D-234F-9F94-A35B9AECDF4A}"/>
              </a:ext>
            </a:extLst>
          </p:cNvPr>
          <p:cNvSpPr/>
          <p:nvPr/>
        </p:nvSpPr>
        <p:spPr>
          <a:xfrm>
            <a:off x="7635834" y="0"/>
            <a:ext cx="1508166" cy="23019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0846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5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TC2D9qvycgZFLu18NR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133445"/>
      </a:dk1>
      <a:lt1>
        <a:srgbClr val="FAFAFA"/>
      </a:lt1>
      <a:dk2>
        <a:srgbClr val="A2BFCC"/>
      </a:dk2>
      <a:lt2>
        <a:srgbClr val="FFFFFF"/>
      </a:lt2>
      <a:accent1>
        <a:srgbClr val="5B92A4"/>
      </a:accent1>
      <a:accent2>
        <a:srgbClr val="133445"/>
      </a:accent2>
      <a:accent3>
        <a:srgbClr val="ACD3E8"/>
      </a:accent3>
      <a:accent4>
        <a:srgbClr val="297297"/>
      </a:accent4>
      <a:accent5>
        <a:srgbClr val="A5A5A5"/>
      </a:accent5>
      <a:accent6>
        <a:srgbClr val="FAFAFA"/>
      </a:accent6>
      <a:hlink>
        <a:srgbClr val="133445"/>
      </a:hlink>
      <a:folHlink>
        <a:srgbClr val="133445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GF Dark blue">
      <a:dk1>
        <a:srgbClr val="404040"/>
      </a:dk1>
      <a:lt1>
        <a:sysClr val="window" lastClr="FFFFFF"/>
      </a:lt1>
      <a:dk2>
        <a:srgbClr val="E6ECF1"/>
      </a:dk2>
      <a:lt2>
        <a:srgbClr val="003F72"/>
      </a:lt2>
      <a:accent1>
        <a:srgbClr val="A7BCCD"/>
      </a:accent1>
      <a:accent2>
        <a:srgbClr val="688CA9"/>
      </a:accent2>
      <a:accent3>
        <a:srgbClr val="36668D"/>
      </a:accent3>
      <a:accent4>
        <a:srgbClr val="69BE28"/>
      </a:accent4>
      <a:accent5>
        <a:srgbClr val="9A996E"/>
      </a:accent5>
      <a:accent6>
        <a:srgbClr val="C6AC0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AA2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F-blank presentation v1.potx" id="{CB5FA00C-091B-4732-B5F3-3BA951C92F22}" vid="{21E9A97C-9547-48EC-B590-28C7F909B61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390</Words>
  <Application>Microsoft Office PowerPoint</Application>
  <PresentationFormat>Presentación en pantalla (4:3)</PresentationFormat>
  <Paragraphs>161</Paragraphs>
  <Slides>10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16" baseType="lpstr">
      <vt:lpstr>Arial</vt:lpstr>
      <vt:lpstr>Calibri</vt:lpstr>
      <vt:lpstr>Symbol</vt:lpstr>
      <vt:lpstr>Office Theme</vt:lpstr>
      <vt:lpstr>1_Office Theme</vt:lpstr>
      <vt:lpstr>think-cell Slide</vt:lpstr>
      <vt:lpstr>Evaluación del Mecanismo de Respuesta a COVID-19 </vt:lpstr>
      <vt:lpstr>Introducción</vt:lpstr>
      <vt:lpstr>Objetivos</vt:lpstr>
      <vt:lpstr>Teoría del cambio I</vt:lpstr>
      <vt:lpstr>Teoría del cambio II</vt:lpstr>
      <vt:lpstr>Métodos</vt:lpstr>
      <vt:lpstr>Elementos de análisis I</vt:lpstr>
      <vt:lpstr>Elementos de análisis II</vt:lpstr>
      <vt:lpstr>Siguientes pasos</vt:lpstr>
      <vt:lpstr>Contact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1-24T22:09:02Z</dcterms:created>
  <dcterms:modified xsi:type="dcterms:W3CDTF">2022-04-06T15:32:22Z</dcterms:modified>
</cp:coreProperties>
</file>